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1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notesSlides/notesSlide2.xml" ContentType="application/vnd.openxmlformats-officedocument.presentationml.notesSl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notesSlides/notesSlide3.xml" ContentType="application/vnd.openxmlformats-officedocument.presentationml.notesSlide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  <p:sldMasterId id="2147483864" r:id="rId2"/>
  </p:sldMasterIdLst>
  <p:notesMasterIdLst>
    <p:notesMasterId r:id="rId11"/>
  </p:notesMasterIdLst>
  <p:handoutMasterIdLst>
    <p:handoutMasterId r:id="rId12"/>
  </p:handoutMasterIdLst>
  <p:sldIdLst>
    <p:sldId id="258" r:id="rId3"/>
    <p:sldId id="1448943336" r:id="rId4"/>
    <p:sldId id="1448943335" r:id="rId5"/>
    <p:sldId id="3742" r:id="rId6"/>
    <p:sldId id="3722" r:id="rId7"/>
    <p:sldId id="3744" r:id="rId8"/>
    <p:sldId id="3746" r:id="rId9"/>
    <p:sldId id="1448943338" r:id="rId10"/>
  </p:sldIdLst>
  <p:sldSz cx="12192000" cy="6858000"/>
  <p:notesSz cx="7102475" cy="9388475"/>
  <p:embeddedFontLst>
    <p:embeddedFont>
      <p:font typeface="Georgia" panose="02040502050405020303" pitchFamily="18" charset="0"/>
      <p:regular r:id="rId13"/>
      <p:bold r:id="rId14"/>
      <p:italic r:id="rId15"/>
      <p:boldItalic r:id="rId16"/>
    </p:embeddedFont>
    <p:embeddedFont>
      <p:font typeface="Segoe UI" panose="020B0502040204020203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000"/>
    <a:srgbClr val="800080"/>
    <a:srgbClr val="0000FF"/>
    <a:srgbClr val="DDDDDD"/>
    <a:srgbClr val="DD8080"/>
    <a:srgbClr val="808080"/>
    <a:srgbClr val="80DDDD"/>
    <a:srgbClr val="969696"/>
    <a:srgbClr val="D0D0D0"/>
    <a:srgbClr val="051C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4" autoAdjust="0"/>
    <p:restoredTop sz="94719" autoAdjust="0"/>
  </p:normalViewPr>
  <p:slideViewPr>
    <p:cSldViewPr snapToGrid="0" snapToObjects="1">
      <p:cViewPr varScale="1">
        <p:scale>
          <a:sx n="90" d="100"/>
          <a:sy n="90" d="100"/>
        </p:scale>
        <p:origin x="208" y="8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2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1 September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1 September 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1 September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1 September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234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1 September, 2022</a:t>
            </a:fld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17" name="Slide Image Placeholder 16">
            <a:extLst>
              <a:ext uri="{FF2B5EF4-FFF2-40B4-BE49-F238E27FC236}">
                <a16:creationId xmlns:a16="http://schemas.microsoft.com/office/drawing/2014/main" id="{85C319DC-DC12-4578-8A94-8FD22449AB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2133967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image" Target="../media/image4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1.xml"/><Relationship Id="rId9" Type="http://schemas.openxmlformats.org/officeDocument/2006/relationships/tags" Target="../tags/tag96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image" Target="../media/image2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openxmlformats.org/officeDocument/2006/relationships/image" Target="../media/image1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3.xml"/><Relationship Id="rId4" Type="http://schemas.openxmlformats.org/officeDocument/2006/relationships/tags" Target="../tags/tag152.xml"/><Relationship Id="rId9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image" Target="../media/image1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5" Type="http://schemas.openxmlformats.org/officeDocument/2006/relationships/tags" Target="../tags/tag165.xml"/><Relationship Id="rId4" Type="http://schemas.openxmlformats.org/officeDocument/2006/relationships/tags" Target="../tags/tag164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5" Type="http://schemas.openxmlformats.org/officeDocument/2006/relationships/tags" Target="../tags/tag183.xml"/><Relationship Id="rId10" Type="http://schemas.openxmlformats.org/officeDocument/2006/relationships/image" Target="../media/image2.emf"/><Relationship Id="rId4" Type="http://schemas.openxmlformats.org/officeDocument/2006/relationships/tags" Target="../tags/tag182.xml"/><Relationship Id="rId9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1.emf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9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9.xml"/><Relationship Id="rId9" Type="http://schemas.openxmlformats.org/officeDocument/2006/relationships/tags" Target="../tags/tag19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image" Target="../media/image1.emf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9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8.xml"/><Relationship Id="rId9" Type="http://schemas.openxmlformats.org/officeDocument/2006/relationships/tags" Target="../tags/tag20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image" Target="../media/image2.emf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0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image" Target="../media/image1.emf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1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6.xml"/><Relationship Id="rId9" Type="http://schemas.openxmlformats.org/officeDocument/2006/relationships/tags" Target="../tags/tag22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image" Target="../media/image2.emf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2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5.xml"/><Relationship Id="rId9" Type="http://schemas.openxmlformats.org/officeDocument/2006/relationships/tags" Target="../tags/tag23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image" Target="../media/image2.emf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3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4.xml"/><Relationship Id="rId9" Type="http://schemas.openxmlformats.org/officeDocument/2006/relationships/tags" Target="../tags/tag23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image" Target="../media/image1.emf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4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3.xml"/><Relationship Id="rId9" Type="http://schemas.openxmlformats.org/officeDocument/2006/relationships/tags" Target="../tags/tag2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56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12" Type="http://schemas.openxmlformats.org/officeDocument/2006/relationships/image" Target="../media/image2.emf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5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52.xml"/><Relationship Id="rId9" Type="http://schemas.openxmlformats.org/officeDocument/2006/relationships/tags" Target="../tags/tag25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5" Type="http://schemas.openxmlformats.org/officeDocument/2006/relationships/tags" Target="../tags/tag262.xml"/><Relationship Id="rId10" Type="http://schemas.openxmlformats.org/officeDocument/2006/relationships/image" Target="../media/image2.emf"/><Relationship Id="rId4" Type="http://schemas.openxmlformats.org/officeDocument/2006/relationships/tags" Target="../tags/tag261.xml"/><Relationship Id="rId9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7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9.xml"/><Relationship Id="rId4" Type="http://schemas.openxmlformats.org/officeDocument/2006/relationships/tags" Target="../tags/tag26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image" Target="../media/image2.emf"/><Relationship Id="rId4" Type="http://schemas.openxmlformats.org/officeDocument/2006/relationships/tags" Target="../tags/tag5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14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BC212018-3FC7-4564-BC6A-0AC9E668A3A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22" name="Documenttype">
            <a:extLst>
              <a:ext uri="{FF2B5EF4-FFF2-40B4-BE49-F238E27FC236}">
                <a16:creationId xmlns:a16="http://schemas.microsoft.com/office/drawing/2014/main" id="{712BDF23-E1A1-4433-BD5C-0C8A43284B7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8B249FCE-DFF0-43AB-BDDB-16D68DB1B82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B9F7514-4A99-422C-9CCD-C186B1280DD9}"/>
              </a:ext>
            </a:extLst>
          </p:cNvPr>
          <p:cNvPicPr>
            <a:picLocks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1E1CC23-DA6C-40AD-9A27-8279C50B672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3E147B5-D313-4C1A-A68C-8A2F58C5A3F5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E840329D-6237-4766-BBAD-19DF8580714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CE759982-65BD-45C6-9F5F-67AD8CC39F4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BADD1B-C2B6-46E6-891B-FB7497BE529F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262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 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FFB187DD-F064-49DA-8DD6-3CE2A3A086D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A45F24A0-E1E5-4CEF-AAE5-F2C8B392CA86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fr-FR" sz="1600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8FCF4E3F-783E-400E-BD81-0CA854D3CE4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fr-F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0587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363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">
            <a:extLst>
              <a:ext uri="{FF2B5EF4-FFF2-40B4-BE49-F238E27FC236}">
                <a16:creationId xmlns:a16="http://schemas.microsoft.com/office/drawing/2014/main" id="{AEF9DE57-1405-4D82-A9ED-0EACD420D2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2617296"/>
            <a:ext cx="5313150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Disclaimer-English (United States)">
            <a:extLst>
              <a:ext uri="{FF2B5EF4-FFF2-40B4-BE49-F238E27FC236}">
                <a16:creationId xmlns:a16="http://schemas.microsoft.com/office/drawing/2014/main" id="{176B7BBC-6927-4E5E-ADFA-89A409F5B0C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51943" y="6190488"/>
            <a:ext cx="30170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8048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E1E4A83A-7456-4039-9A31-6A81A39288A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551943" y="5615068"/>
            <a:ext cx="531315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7BF4AF4-D626-46C5-BD91-F90A37E85249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551943" y="5101203"/>
            <a:ext cx="531315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9354C-0766-4C79-A38C-241C3413E74E}"/>
              </a:ext>
            </a:extLst>
          </p:cNvPr>
          <p:cNvPicPr>
            <a:picLocks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9581" y="365875"/>
            <a:ext cx="2699257" cy="59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51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21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628A29A-7140-4215-AAD3-408E4038DE4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29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5B234232-A4C2-47B6-8806-916ADD0C18B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6874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0DBB81CC-F849-4BD4-88CE-334EE9B3F27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1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F978A8CD-047D-490F-98D5-36F9E9BD991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673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0C296B58-AF91-49AF-AE35-151C07ADA47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99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BCD6AC10-5155-4024-A132-5D89A66014F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42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C36A9C0C-DA66-4674-9323-83DEFB4A0ECE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86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4C2FE976-3D2A-414C-9AC4-4E279E2274D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B07A955C-5768-4F78-BCD2-EEC29CDF1A1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3050FA4E-931F-44C4-BAB6-319201BCD51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674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83E61E-A3D9-46A9-AE4D-7B9F5BDF9747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76456" y="2912908"/>
            <a:ext cx="4712917" cy="103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109F12A2-9074-48F5-93E9-3E245489D2B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CC59723C-6844-4221-8A4A-B84B177C9374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SlideLogoText">
            <a:extLst>
              <a:ext uri="{FF2B5EF4-FFF2-40B4-BE49-F238E27FC236}">
                <a16:creationId xmlns:a16="http://schemas.microsoft.com/office/drawing/2014/main" id="{4176DD9F-F8AA-4052-AB7D-4F492BC276D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image" Target="../media/image1.emf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26" Type="http://schemas.openxmlformats.org/officeDocument/2006/relationships/tags" Target="../tags/tag134.xml"/><Relationship Id="rId39" Type="http://schemas.openxmlformats.org/officeDocument/2006/relationships/tags" Target="../tags/tag147.xml"/><Relationship Id="rId21" Type="http://schemas.openxmlformats.org/officeDocument/2006/relationships/tags" Target="../tags/tag129.xml"/><Relationship Id="rId34" Type="http://schemas.openxmlformats.org/officeDocument/2006/relationships/tags" Target="../tags/tag142.xml"/><Relationship Id="rId42" Type="http://schemas.openxmlformats.org/officeDocument/2006/relationships/image" Target="../media/image2.emf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128.xml"/><Relationship Id="rId29" Type="http://schemas.openxmlformats.org/officeDocument/2006/relationships/tags" Target="../tags/tag137.xml"/><Relationship Id="rId41" Type="http://schemas.openxmlformats.org/officeDocument/2006/relationships/oleObject" Target="../embeddings/oleObject17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132.xml"/><Relationship Id="rId32" Type="http://schemas.openxmlformats.org/officeDocument/2006/relationships/tags" Target="../tags/tag140.xml"/><Relationship Id="rId37" Type="http://schemas.openxmlformats.org/officeDocument/2006/relationships/tags" Target="../tags/tag145.xml"/><Relationship Id="rId40" Type="http://schemas.openxmlformats.org/officeDocument/2006/relationships/tags" Target="../tags/tag148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36" Type="http://schemas.openxmlformats.org/officeDocument/2006/relationships/tags" Target="../tags/tag144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27.xml"/><Relationship Id="rId31" Type="http://schemas.openxmlformats.org/officeDocument/2006/relationships/tags" Target="../tags/tag139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30" Type="http://schemas.openxmlformats.org/officeDocument/2006/relationships/tags" Target="../tags/tag138.xml"/><Relationship Id="rId35" Type="http://schemas.openxmlformats.org/officeDocument/2006/relationships/tags" Target="../tags/tag143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133.xml"/><Relationship Id="rId33" Type="http://schemas.openxmlformats.org/officeDocument/2006/relationships/tags" Target="../tags/tag141.xml"/><Relationship Id="rId38" Type="http://schemas.openxmlformats.org/officeDocument/2006/relationships/tags" Target="../tags/tag1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33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8" name="SlideLogoText">
            <a:extLst>
              <a:ext uri="{FF2B5EF4-FFF2-40B4-BE49-F238E27FC236}">
                <a16:creationId xmlns:a16="http://schemas.microsoft.com/office/drawing/2014/main" id="{8D574FFE-81A7-4651-A7DE-C7A84A035E00}"/>
              </a:ext>
            </a:extLst>
          </p:cNvPr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D97663A-F791-4E92-9365-CB813C9BC374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EAE2240-C81D-4CA1-98E3-B35AEF921F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6499D379-D492-44E0-845F-E875946CF4F5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0073C53-9F6F-4656-A656-DB736FB2832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FB456E-2344-4E2D-B77B-3FC87625B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603980B9-14BF-4E57-87D9-56C880BB172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57A44DC-B2E5-4EAD-8BCE-531A7CFAF9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50C7AAA3-ABE1-4F29-B1E1-26A5AC82533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3704209-C3C0-458F-86F0-8E40BBBE39B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196E1F53-76CE-4F04-B7B8-2166FDA9AE4E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83462F9-6A37-4CC1-8D94-01DFA338F69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4ADA2EA-D59D-42BA-8DCC-5C8283DCCCE5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7E5190C7-EB40-459A-A0BB-E468A1FA4F69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6DEBB72-75E8-463A-8350-806BB74E317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9CDBF45-8357-4CE6-B6AF-EF5A753A44A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4105C40B-856D-497D-A1B8-607FF1EA417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17215290-E193-4DCC-AD37-91F900FD8855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65D5F43-792E-4FBA-97F8-038AC5303FA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8EAA3CDC-A24E-4F39-AD69-FC3F6454BE5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CBEB3BB3-87F9-41E3-8454-121AB7876E8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1C07254-D4B4-4E36-A614-4B6C78BCB9E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FE2879A-3A88-4D85-A9A6-0407D93373D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AF11CAD8-4135-4CD9-85B3-6859BBB855A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3B7DDE4-7052-41EA-982A-F327D864DE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D83CA23-B446-4B60-BEC7-045FEDD9FFF1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CC611DF-76ED-4B41-9279-99C0E3532FE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9C04C75E-81DE-4476-B7D8-0F11B682FAA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292F908-925C-43D7-AA92-BB8953F84B2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DAF2E18-689A-41D7-8318-A27B61E525E1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9125C35-A045-4AEC-B260-A899D8FF21B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7C82C3C3-A5AE-45EB-8BF6-AE31CB394C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85FCDFE-0AFF-43C2-938E-CCF101E4142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BD1FF62D-E7C4-47EF-86EA-F55A826E778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3D42050-F435-4EA8-BAE4-BB1E1B5864A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2B851ED3-A382-4DBB-8F7D-B32C906DC12F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84BA7900-FE12-4EF4-8CD7-590783C9BCF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F569B22-62E6-4578-BE99-DA245B2DD06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E5C1773-5A91-4CCB-B5FE-D2C395026F65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5D40DD8-1473-4059-BEF5-5DB0F6B204FD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64046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592" imgH="591" progId="TCLayout.ActiveDocument.1">
                  <p:embed/>
                </p:oleObj>
              </mc:Choice>
              <mc:Fallback>
                <p:oleObj name="think-cell Slide" r:id="rId41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2044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144" name="SlideLogoText">
            <a:extLst>
              <a:ext uri="{FF2B5EF4-FFF2-40B4-BE49-F238E27FC236}">
                <a16:creationId xmlns:a16="http://schemas.microsoft.com/office/drawing/2014/main" id="{6079B92B-B06C-4258-9E1C-3881DC358B9B}"/>
              </a:ext>
            </a:extLst>
          </p:cNvPr>
          <p:cNvSpPr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9587101" y="6498754"/>
            <a:ext cx="16478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1193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umBlack, AI by McKinsey </a:t>
            </a: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F22C0A1A-93A1-487B-8863-4F7560F9AA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5" y="2260021"/>
            <a:ext cx="460174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2D73408D-CD62-41BB-B1DB-4E0F325E2C7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91D1BAB4-5F56-44D0-9783-8E18C01C9B9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951D7D13-1BCF-4D28-A57A-EDE3EA26BA4D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6AD11C-ACB1-46E1-84D9-40B90064FB7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8A066E9A-1B9B-4219-833A-B063F7B374F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E1858556-6678-4C8D-B559-3246911734DA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2CC9EAA7-9731-487F-AB35-E7BAEF78C97F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DD8C6EBD-A98D-4B2E-8677-D040F0E8F572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887B4F41-0C72-4EFE-B3A6-F10A416C6717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6F884311-AA65-4C5D-B838-FAEE69C5AC71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60251D9D-8390-417F-A228-D48F7CA286FC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55F75FBC-7267-4772-BC78-90BF014DBEB5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D6305ED8-A766-4C81-8A15-FD658D97AC9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1D8E6026-B3DA-4A50-B7DE-FD30D0DD0C0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C749015B-5DFD-44FB-A675-78E2BB7EA8E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174A5F12-E1D5-424F-8639-AD3B66EEBF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8AB3C8E2-DAD7-49F4-8C97-7AB40B149D7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D23BC853-5B82-4896-A8E7-29830F873A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2A8E9DC7-471C-4B9D-B1C3-71E691C37CE4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6057A30C-C617-4C3E-9CC2-33E2D4B9BAB3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E4D21E66-6DBD-4F65-AB24-5986DE89550E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8" name="Legend3" hidden="1">
              <a:extLst>
                <a:ext uri="{FF2B5EF4-FFF2-40B4-BE49-F238E27FC236}">
                  <a16:creationId xmlns:a16="http://schemas.microsoft.com/office/drawing/2014/main" id="{E1EB3073-C123-46D2-8456-39107FBC7285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D877A7D0-CDF0-44DE-808D-30B87F5A6CA4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AAA6CD16-E6C1-4FD2-A146-9357B7B39913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2769EF04-22D2-41F0-9614-083A5C187B3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26F96AF0-C50A-4B8F-8347-7F8A7F3DDC89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FAD87140-0F25-456F-9677-A4DA2725BCFB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5CC0FEA5-9B05-48C2-908C-16FA6942B7F7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F75DA3E7-D454-4317-A593-750A2B666BC8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50A29B9C-29E7-4058-B465-A766A2F20C1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23FC380B-56F1-4D85-89D1-FB04604700F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7AF2DBF5-6F29-43FC-812F-437D3205BA5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7AA9B50E-2514-4DA5-83A8-E09B982DD7E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84259163-5803-47C2-B6DE-24D6055DCAE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3748736-9512-40C6-9C30-2848457455E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DC56E157-BE6C-48BC-9763-F0CFFACE24F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A33D987D-3003-45B0-BE77-253D62F0DC6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2B875629-C63F-4F2D-8B9E-0C3704F7C77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7F750322-50C4-48CC-AA09-E23390E4092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2064" indent="-28346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06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716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74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image" Target="../media/image6.jpg"/><Relationship Id="rId5" Type="http://schemas.openxmlformats.org/officeDocument/2006/relationships/tags" Target="../tags/tag276.xml"/><Relationship Id="rId10" Type="http://schemas.openxmlformats.org/officeDocument/2006/relationships/image" Target="../media/image2.emf"/><Relationship Id="rId4" Type="http://schemas.openxmlformats.org/officeDocument/2006/relationships/tags" Target="../tags/tag275.xml"/><Relationship Id="rId9" Type="http://schemas.openxmlformats.org/officeDocument/2006/relationships/oleObject" Target="../embeddings/oleObject3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13" Type="http://schemas.openxmlformats.org/officeDocument/2006/relationships/tags" Target="../tags/tag291.xml"/><Relationship Id="rId18" Type="http://schemas.openxmlformats.org/officeDocument/2006/relationships/tags" Target="../tags/tag296.xml"/><Relationship Id="rId26" Type="http://schemas.openxmlformats.org/officeDocument/2006/relationships/tags" Target="../tags/tag304.xml"/><Relationship Id="rId3" Type="http://schemas.openxmlformats.org/officeDocument/2006/relationships/tags" Target="../tags/tag281.xml"/><Relationship Id="rId21" Type="http://schemas.openxmlformats.org/officeDocument/2006/relationships/tags" Target="../tags/tag299.xml"/><Relationship Id="rId7" Type="http://schemas.openxmlformats.org/officeDocument/2006/relationships/tags" Target="../tags/tag285.xml"/><Relationship Id="rId12" Type="http://schemas.openxmlformats.org/officeDocument/2006/relationships/tags" Target="../tags/tag290.xml"/><Relationship Id="rId17" Type="http://schemas.openxmlformats.org/officeDocument/2006/relationships/tags" Target="../tags/tag295.xml"/><Relationship Id="rId25" Type="http://schemas.openxmlformats.org/officeDocument/2006/relationships/tags" Target="../tags/tag303.xml"/><Relationship Id="rId2" Type="http://schemas.openxmlformats.org/officeDocument/2006/relationships/tags" Target="../tags/tag280.xml"/><Relationship Id="rId16" Type="http://schemas.openxmlformats.org/officeDocument/2006/relationships/tags" Target="../tags/tag294.xml"/><Relationship Id="rId20" Type="http://schemas.openxmlformats.org/officeDocument/2006/relationships/tags" Target="../tags/tag298.xml"/><Relationship Id="rId29" Type="http://schemas.openxmlformats.org/officeDocument/2006/relationships/slideLayout" Target="../slideLayouts/slideLayout15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11" Type="http://schemas.openxmlformats.org/officeDocument/2006/relationships/tags" Target="../tags/tag289.xml"/><Relationship Id="rId24" Type="http://schemas.openxmlformats.org/officeDocument/2006/relationships/tags" Target="../tags/tag302.xml"/><Relationship Id="rId32" Type="http://schemas.openxmlformats.org/officeDocument/2006/relationships/image" Target="../media/image8.emf"/><Relationship Id="rId5" Type="http://schemas.openxmlformats.org/officeDocument/2006/relationships/tags" Target="../tags/tag283.xml"/><Relationship Id="rId15" Type="http://schemas.openxmlformats.org/officeDocument/2006/relationships/tags" Target="../tags/tag293.xml"/><Relationship Id="rId23" Type="http://schemas.openxmlformats.org/officeDocument/2006/relationships/tags" Target="../tags/tag301.xml"/><Relationship Id="rId28" Type="http://schemas.openxmlformats.org/officeDocument/2006/relationships/tags" Target="../tags/tag306.xml"/><Relationship Id="rId10" Type="http://schemas.openxmlformats.org/officeDocument/2006/relationships/tags" Target="../tags/tag288.xml"/><Relationship Id="rId19" Type="http://schemas.openxmlformats.org/officeDocument/2006/relationships/tags" Target="../tags/tag297.xml"/><Relationship Id="rId31" Type="http://schemas.openxmlformats.org/officeDocument/2006/relationships/oleObject" Target="../embeddings/oleObject36.bin"/><Relationship Id="rId4" Type="http://schemas.openxmlformats.org/officeDocument/2006/relationships/tags" Target="../tags/tag282.xml"/><Relationship Id="rId9" Type="http://schemas.openxmlformats.org/officeDocument/2006/relationships/tags" Target="../tags/tag287.xml"/><Relationship Id="rId14" Type="http://schemas.openxmlformats.org/officeDocument/2006/relationships/tags" Target="../tags/tag292.xml"/><Relationship Id="rId22" Type="http://schemas.openxmlformats.org/officeDocument/2006/relationships/tags" Target="../tags/tag300.xml"/><Relationship Id="rId27" Type="http://schemas.openxmlformats.org/officeDocument/2006/relationships/tags" Target="../tags/tag305.xml"/><Relationship Id="rId30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10.xml"/><Relationship Id="rId7" Type="http://schemas.openxmlformats.org/officeDocument/2006/relationships/oleObject" Target="../embeddings/oleObject37.bin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1.png"/><Relationship Id="rId4" Type="http://schemas.openxmlformats.org/officeDocument/2006/relationships/tags" Target="../tags/tag311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5.xml"/><Relationship Id="rId18" Type="http://schemas.openxmlformats.org/officeDocument/2006/relationships/tags" Target="../tags/tag330.xml"/><Relationship Id="rId26" Type="http://schemas.openxmlformats.org/officeDocument/2006/relationships/tags" Target="../tags/tag338.xml"/><Relationship Id="rId39" Type="http://schemas.openxmlformats.org/officeDocument/2006/relationships/tags" Target="../tags/tag351.xml"/><Relationship Id="rId21" Type="http://schemas.openxmlformats.org/officeDocument/2006/relationships/tags" Target="../tags/tag333.xml"/><Relationship Id="rId34" Type="http://schemas.openxmlformats.org/officeDocument/2006/relationships/tags" Target="../tags/tag346.xml"/><Relationship Id="rId42" Type="http://schemas.openxmlformats.org/officeDocument/2006/relationships/tags" Target="../tags/tag354.xml"/><Relationship Id="rId47" Type="http://schemas.openxmlformats.org/officeDocument/2006/relationships/tags" Target="../tags/tag359.xml"/><Relationship Id="rId50" Type="http://schemas.openxmlformats.org/officeDocument/2006/relationships/tags" Target="../tags/tag362.xml"/><Relationship Id="rId55" Type="http://schemas.openxmlformats.org/officeDocument/2006/relationships/tags" Target="../tags/tag367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6" Type="http://schemas.openxmlformats.org/officeDocument/2006/relationships/tags" Target="../tags/tag328.xml"/><Relationship Id="rId29" Type="http://schemas.openxmlformats.org/officeDocument/2006/relationships/tags" Target="../tags/tag341.xml"/><Relationship Id="rId11" Type="http://schemas.openxmlformats.org/officeDocument/2006/relationships/tags" Target="../tags/tag323.xml"/><Relationship Id="rId24" Type="http://schemas.openxmlformats.org/officeDocument/2006/relationships/tags" Target="../tags/tag336.xml"/><Relationship Id="rId32" Type="http://schemas.openxmlformats.org/officeDocument/2006/relationships/tags" Target="../tags/tag344.xml"/><Relationship Id="rId37" Type="http://schemas.openxmlformats.org/officeDocument/2006/relationships/tags" Target="../tags/tag349.xml"/><Relationship Id="rId40" Type="http://schemas.openxmlformats.org/officeDocument/2006/relationships/tags" Target="../tags/tag352.xml"/><Relationship Id="rId45" Type="http://schemas.openxmlformats.org/officeDocument/2006/relationships/tags" Target="../tags/tag357.xml"/><Relationship Id="rId53" Type="http://schemas.openxmlformats.org/officeDocument/2006/relationships/tags" Target="../tags/tag365.xml"/><Relationship Id="rId5" Type="http://schemas.openxmlformats.org/officeDocument/2006/relationships/tags" Target="../tags/tag317.xml"/><Relationship Id="rId19" Type="http://schemas.openxmlformats.org/officeDocument/2006/relationships/tags" Target="../tags/tag331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tags" Target="../tags/tag326.xml"/><Relationship Id="rId22" Type="http://schemas.openxmlformats.org/officeDocument/2006/relationships/tags" Target="../tags/tag334.xml"/><Relationship Id="rId27" Type="http://schemas.openxmlformats.org/officeDocument/2006/relationships/tags" Target="../tags/tag339.xml"/><Relationship Id="rId30" Type="http://schemas.openxmlformats.org/officeDocument/2006/relationships/tags" Target="../tags/tag342.xml"/><Relationship Id="rId35" Type="http://schemas.openxmlformats.org/officeDocument/2006/relationships/tags" Target="../tags/tag347.xml"/><Relationship Id="rId43" Type="http://schemas.openxmlformats.org/officeDocument/2006/relationships/tags" Target="../tags/tag355.xml"/><Relationship Id="rId48" Type="http://schemas.openxmlformats.org/officeDocument/2006/relationships/tags" Target="../tags/tag360.xml"/><Relationship Id="rId56" Type="http://schemas.openxmlformats.org/officeDocument/2006/relationships/tags" Target="../tags/tag368.xml"/><Relationship Id="rId8" Type="http://schemas.openxmlformats.org/officeDocument/2006/relationships/tags" Target="../tags/tag320.xml"/><Relationship Id="rId51" Type="http://schemas.openxmlformats.org/officeDocument/2006/relationships/tags" Target="../tags/tag363.xml"/><Relationship Id="rId3" Type="http://schemas.openxmlformats.org/officeDocument/2006/relationships/tags" Target="../tags/tag315.xml"/><Relationship Id="rId12" Type="http://schemas.openxmlformats.org/officeDocument/2006/relationships/tags" Target="../tags/tag324.xml"/><Relationship Id="rId17" Type="http://schemas.openxmlformats.org/officeDocument/2006/relationships/tags" Target="../tags/tag329.xml"/><Relationship Id="rId25" Type="http://schemas.openxmlformats.org/officeDocument/2006/relationships/tags" Target="../tags/tag337.xml"/><Relationship Id="rId33" Type="http://schemas.openxmlformats.org/officeDocument/2006/relationships/tags" Target="../tags/tag345.xml"/><Relationship Id="rId38" Type="http://schemas.openxmlformats.org/officeDocument/2006/relationships/tags" Target="../tags/tag350.xml"/><Relationship Id="rId46" Type="http://schemas.openxmlformats.org/officeDocument/2006/relationships/tags" Target="../tags/tag358.xml"/><Relationship Id="rId20" Type="http://schemas.openxmlformats.org/officeDocument/2006/relationships/tags" Target="../tags/tag332.xml"/><Relationship Id="rId41" Type="http://schemas.openxmlformats.org/officeDocument/2006/relationships/tags" Target="../tags/tag353.xml"/><Relationship Id="rId54" Type="http://schemas.openxmlformats.org/officeDocument/2006/relationships/tags" Target="../tags/tag366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5" Type="http://schemas.openxmlformats.org/officeDocument/2006/relationships/tags" Target="../tags/tag327.xml"/><Relationship Id="rId23" Type="http://schemas.openxmlformats.org/officeDocument/2006/relationships/tags" Target="../tags/tag335.xml"/><Relationship Id="rId28" Type="http://schemas.openxmlformats.org/officeDocument/2006/relationships/tags" Target="../tags/tag340.xml"/><Relationship Id="rId36" Type="http://schemas.openxmlformats.org/officeDocument/2006/relationships/tags" Target="../tags/tag348.xml"/><Relationship Id="rId49" Type="http://schemas.openxmlformats.org/officeDocument/2006/relationships/tags" Target="../tags/tag361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322.xml"/><Relationship Id="rId31" Type="http://schemas.openxmlformats.org/officeDocument/2006/relationships/tags" Target="../tags/tag343.xml"/><Relationship Id="rId44" Type="http://schemas.openxmlformats.org/officeDocument/2006/relationships/tags" Target="../tags/tag356.xml"/><Relationship Id="rId52" Type="http://schemas.openxmlformats.org/officeDocument/2006/relationships/tags" Target="../tags/tag36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0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11D06D31-577C-468F-A315-4B1A48E07A2C}"/>
              </a:ext>
            </a:extLst>
          </p:cNvPr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551943" y="5615068"/>
            <a:ext cx="5313150" cy="21544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1400" dirty="0"/>
              <a:t>8 </a:t>
            </a:r>
            <a:r>
              <a:rPr lang="en-US" sz="1400" dirty="0" err="1"/>
              <a:t>Octobre</a:t>
            </a:r>
            <a:r>
              <a:rPr lang="en-US" sz="1400"/>
              <a:t> 2022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9D165D28-4E2C-4E35-98E6-6B5023BBA057}"/>
              </a:ext>
            </a:extLst>
          </p:cNvPr>
          <p:cNvSpPr>
            <a:spLocks noGrp="1"/>
          </p:cNvSpPr>
          <p:nvPr>
            <p:ph type="subTitle" idx="4294967295"/>
            <p:custDataLst>
              <p:tags r:id="rId5"/>
            </p:custDataLst>
          </p:nvPr>
        </p:nvSpPr>
        <p:spPr>
          <a:xfrm>
            <a:off x="551943" y="5101203"/>
            <a:ext cx="5313150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2000"/>
              <a:t>Assurer la </a:t>
            </a:r>
            <a:r>
              <a:rPr lang="en-US" sz="2000" err="1"/>
              <a:t>sécurité</a:t>
            </a:r>
            <a:r>
              <a:rPr lang="en-US" sz="2000"/>
              <a:t> </a:t>
            </a:r>
            <a:r>
              <a:rPr lang="en-US" sz="2000" err="1"/>
              <a:t>alimentaire</a:t>
            </a:r>
            <a:r>
              <a:rPr lang="en-US" sz="2000"/>
              <a:t> dans le mond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2617296"/>
            <a:ext cx="5447642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err="1"/>
              <a:t>L’agriculture</a:t>
            </a:r>
            <a:r>
              <a:rPr lang="en-US"/>
              <a:t> de </a:t>
            </a:r>
            <a:r>
              <a:rPr lang="en-US" err="1"/>
              <a:t>demain</a:t>
            </a:r>
            <a:endParaRPr lang="en-US"/>
          </a:p>
        </p:txBody>
      </p:sp>
      <p:pic>
        <p:nvPicPr>
          <p:cNvPr id="11" name="Picture 10" descr="Aerial view of farming land with country roads">
            <a:extLst>
              <a:ext uri="{FF2B5EF4-FFF2-40B4-BE49-F238E27FC236}">
                <a16:creationId xmlns:a16="http://schemas.microsoft.com/office/drawing/2014/main" id="{599126C4-4EE5-3B61-90D5-C8F9747E3E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63578" y="1988990"/>
            <a:ext cx="5445999" cy="36271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1F492-93AE-A24C-3C3C-FFA98E63F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448190"/>
            <a:ext cx="11082528" cy="731520"/>
          </a:xfrm>
        </p:spPr>
        <p:txBody>
          <a:bodyPr/>
          <a:lstStyle/>
          <a:p>
            <a:r>
              <a:rPr lang="fr-FR" dirty="0">
                <a:solidFill>
                  <a:srgbClr val="051C2C"/>
                </a:solidFill>
              </a:rPr>
              <a:t>Constat : </a:t>
            </a:r>
            <a:r>
              <a:rPr lang="fr-FR" dirty="0">
                <a:latin typeface="+mj-lt"/>
              </a:rPr>
              <a:t>14 % des aliments produits sont perdus entre la récolte et la vente au détail (1/2)</a:t>
            </a:r>
            <a:endParaRPr lang="fr-F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599902-6D1A-23CF-4D0F-836C44D0C7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946F18-3D75-B897-69D4-8AC95F3C0E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736" y="2550934"/>
            <a:ext cx="7772400" cy="28490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2CC4C2F-91AF-F5A1-DABC-31DFD7811788}"/>
              </a:ext>
            </a:extLst>
          </p:cNvPr>
          <p:cNvSpPr txBox="1"/>
          <p:nvPr/>
        </p:nvSpPr>
        <p:spPr>
          <a:xfrm>
            <a:off x="554736" y="1751344"/>
            <a:ext cx="460174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dirty="0"/>
              <a:t>Article « Le Monde » du 20 Septembre 2022</a:t>
            </a:r>
          </a:p>
        </p:txBody>
      </p:sp>
      <p:sp>
        <p:nvSpPr>
          <p:cNvPr id="8" name="Sticky">
            <a:extLst>
              <a:ext uri="{FF2B5EF4-FFF2-40B4-BE49-F238E27FC236}">
                <a16:creationId xmlns:a16="http://schemas.microsoft.com/office/drawing/2014/main" id="{13E31F4C-FC69-0CA7-52EC-EC79D4A860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51209" y="951890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QB</a:t>
            </a:r>
          </a:p>
        </p:txBody>
      </p:sp>
    </p:spTree>
    <p:extLst>
      <p:ext uri="{BB962C8B-B14F-4D97-AF65-F5344CB8AC3E}">
        <p14:creationId xmlns:p14="http://schemas.microsoft.com/office/powerpoint/2010/main" val="127424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tangle 103">
            <a:extLst>
              <a:ext uri="{FF2B5EF4-FFF2-40B4-BE49-F238E27FC236}">
                <a16:creationId xmlns:a16="http://schemas.microsoft.com/office/drawing/2014/main" id="{FEAB4939-3A93-0768-9D32-4E7D7DA6616E}"/>
              </a:ext>
            </a:extLst>
          </p:cNvPr>
          <p:cNvSpPr/>
          <p:nvPr/>
        </p:nvSpPr>
        <p:spPr>
          <a:xfrm>
            <a:off x="1207659" y="3279467"/>
            <a:ext cx="9335188" cy="994764"/>
          </a:xfrm>
          <a:prstGeom prst="rect">
            <a:avLst/>
          </a:prstGeom>
          <a:solidFill>
            <a:schemeClr val="tx2">
              <a:lumMod val="8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E6B950-9587-4E9C-9373-BEB50409A0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6" progId="TCLayout.ActiveDocument.1">
                  <p:embed/>
                </p:oleObj>
              </mc:Choice>
              <mc:Fallback>
                <p:oleObj name="think-cell Slide" r:id="rId31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E6B950-9587-4E9C-9373-BEB50409A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8AFCFAB-CA74-4947-A726-F8E2885A9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490037"/>
            <a:ext cx="11082528" cy="731520"/>
          </a:xfrm>
        </p:spPr>
        <p:txBody>
          <a:bodyPr vert="horz"/>
          <a:lstStyle/>
          <a:p>
            <a:r>
              <a:rPr lang="fr-FR" dirty="0">
                <a:solidFill>
                  <a:srgbClr val="051C2C"/>
                </a:solidFill>
              </a:rPr>
              <a:t>Constat : </a:t>
            </a:r>
            <a:r>
              <a:rPr lang="fr-FR" dirty="0">
                <a:latin typeface="+mj-lt"/>
              </a:rPr>
              <a:t>14 % des aliments produits sont perdus entre la récolte et la vente au détail (2/2)</a:t>
            </a:r>
            <a:endParaRPr lang="fr-FR" dirty="0">
              <a:solidFill>
                <a:srgbClr val="051C2C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A7FCDB-09C8-4344-856E-FD9CF7BAAF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>
              <a:solidFill>
                <a:srgbClr val="051C2C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F29809E-88C9-440A-A6A9-3EF1213C173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193581" y="3279467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8B37670-0C39-42CE-9A0D-2624E524E713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193581" y="5533365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CAF1AA38-7DD1-4A94-B894-2F76E5AC255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28925" y="1513946"/>
            <a:ext cx="1628215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>
                <a:solidFill>
                  <a:srgbClr val="051C2C"/>
                </a:solidFill>
              </a:rPr>
              <a:t>Value chain step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09DFB73-939A-48B2-9AAA-466068D40B2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917707" y="1535965"/>
            <a:ext cx="331400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>
                <a:solidFill>
                  <a:srgbClr val="051C2C"/>
                </a:solidFill>
              </a:rPr>
              <a:t>Cause de la pert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D17D103-C2F2-4032-B62A-20BCDA40DCE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473472" y="2017551"/>
            <a:ext cx="1628215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>
                <a:solidFill>
                  <a:srgbClr val="051C2C"/>
                </a:solidFill>
              </a:rPr>
              <a:t>Récolt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39D11AC-3B11-42A4-B1E0-86D2639B5D3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857140" y="1905788"/>
            <a:ext cx="3314004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>
                <a:solidFill>
                  <a:srgbClr val="051C2C"/>
                </a:solidFill>
                <a:latin typeface="Arial" panose="020B0604020202020204" pitchFamily="34" charset="0"/>
              </a:rPr>
              <a:t>Mauvais timing de récolte (le grain n’est pas assez mature ou encore trop humide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B336AE-4B79-4C64-BA52-B140FC97C91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457894" y="3696221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Stockag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9392CB3-117A-42ED-BC9F-2AA942FECF3B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857140" y="3674087"/>
            <a:ext cx="3314004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Exposition aux parasites, variations de température et humidité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3CD17D9-B0BD-4ED3-8128-E98AFE037C4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473472" y="5713911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Marke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8BCFD41-70B1-4C14-B606-E49B16F1956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857140" y="2437887"/>
            <a:ext cx="3314004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bordement ou séparation incomplète de l’épi des graines céréale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1C5477B-22FD-42F0-BFDC-DC006B6D630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473472" y="5189453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Transpor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EAE7BE1-7221-48F4-A656-A4733D846DAD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2857140" y="5722421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Retrait des récoltes des champ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9149A75A-C446-4E61-8AD3-D55F0BCBEC3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7206306" y="4132717"/>
            <a:ext cx="2725904" cy="17947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fr-FR" sz="1000">
              <a:solidFill>
                <a:srgbClr val="051C2C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9058983-E8A1-4C2B-A085-24498CDAC6E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473472" y="4481791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 err="1">
                <a:solidFill>
                  <a:srgbClr val="051C2C"/>
                </a:solidFill>
              </a:rPr>
              <a:t>Processing</a:t>
            </a:r>
            <a:endParaRPr lang="fr-FR" sz="1100" dirty="0">
              <a:solidFill>
                <a:srgbClr val="051C2C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A30BBEB-513C-4672-8F00-A4DEECF97E14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857140" y="5112577"/>
            <a:ext cx="3314004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bordement des sacs de grains dû à leur mauvaise qualité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3305091-CAA3-4E8E-BBEF-3549417A98D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1473470" y="2951916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Séchag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46A2E7F-75A6-4025-A214-19399F342C79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2857140" y="2961217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b="0" i="0" dirty="0">
                <a:solidFill>
                  <a:srgbClr val="051C2C"/>
                </a:solidFill>
                <a:effectLst/>
                <a:latin typeface="Arial" panose="020B0604020202020204" pitchFamily="34" charset="0"/>
              </a:rPr>
              <a:t>Exposition des grains aux oiseaux, insectes</a:t>
            </a:r>
            <a:endParaRPr lang="fr-FR" sz="1100" dirty="0">
              <a:solidFill>
                <a:srgbClr val="051C2C"/>
              </a:solidFill>
              <a:latin typeface="Arial" panose="020B0604020202020204" pitchFamily="34" charset="0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3D871A1-E261-448D-A593-F94C9F95C73F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1228926" y="1817589"/>
            <a:ext cx="9335187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2407FB6-F366-C493-2EE4-75917784B8BB}"/>
              </a:ext>
            </a:extLst>
          </p:cNvPr>
          <p:cNvSpPr txBox="1"/>
          <p:nvPr/>
        </p:nvSpPr>
        <p:spPr>
          <a:xfrm>
            <a:off x="3540642" y="108452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D6A326-5BAE-7CE8-1E34-D6AD37552FEC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1473471" y="2431184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Battag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3F1CA0B-4CDF-5AC0-7D65-E4C4ED77C0B4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1193581" y="5005275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A22F410-D7BE-0088-BD73-DB8BF10D1E74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1193581" y="2832160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B33F4F2-DA09-ED03-4054-7D720520C3E1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1193581" y="2314017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58C49271-6BAC-6E02-A736-F454FE8B4AC4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6787133" y="1538524"/>
            <a:ext cx="331400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solidFill>
                  <a:srgbClr val="051C2C"/>
                </a:solidFill>
              </a:rPr>
              <a:t>Magnitude de la perte (en %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89E5C12-977A-8799-2837-9547DE40DD6C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2857140" y="4506635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Introduction de nouvelles matières  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3ECDEAE-B3E4-9981-B054-931315B571C4}"/>
              </a:ext>
            </a:extLst>
          </p:cNvPr>
          <p:cNvSpPr/>
          <p:nvPr/>
        </p:nvSpPr>
        <p:spPr>
          <a:xfrm>
            <a:off x="7835008" y="1873244"/>
            <a:ext cx="340242" cy="323165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F77BAB0-7178-32CA-4D0E-73363F01DE83}"/>
              </a:ext>
            </a:extLst>
          </p:cNvPr>
          <p:cNvSpPr/>
          <p:nvPr/>
        </p:nvSpPr>
        <p:spPr>
          <a:xfrm>
            <a:off x="7878105" y="2439388"/>
            <a:ext cx="251637" cy="251634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3892F44E-61D9-594A-B7CC-51BE162336D5}"/>
              </a:ext>
            </a:extLst>
          </p:cNvPr>
          <p:cNvSpPr/>
          <p:nvPr/>
        </p:nvSpPr>
        <p:spPr>
          <a:xfrm>
            <a:off x="7611969" y="3383239"/>
            <a:ext cx="804034" cy="8059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EB1EFEC4-6C17-94DC-481B-08765025A5F6}"/>
              </a:ext>
            </a:extLst>
          </p:cNvPr>
          <p:cNvSpPr/>
          <p:nvPr/>
        </p:nvSpPr>
        <p:spPr>
          <a:xfrm>
            <a:off x="7697381" y="4334197"/>
            <a:ext cx="627923" cy="591176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4DB4DB20-4824-70F9-F415-E119EF3CCFD1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1193581" y="4274231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93">
            <a:extLst>
              <a:ext uri="{FF2B5EF4-FFF2-40B4-BE49-F238E27FC236}">
                <a16:creationId xmlns:a16="http://schemas.microsoft.com/office/drawing/2014/main" id="{E66CB482-375F-55BA-B637-872D62EB40A3}"/>
              </a:ext>
            </a:extLst>
          </p:cNvPr>
          <p:cNvSpPr/>
          <p:nvPr/>
        </p:nvSpPr>
        <p:spPr>
          <a:xfrm>
            <a:off x="7878105" y="2921326"/>
            <a:ext cx="251637" cy="251634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6F51D89-0336-F250-6373-91ADDDCEFBCA}"/>
              </a:ext>
            </a:extLst>
          </p:cNvPr>
          <p:cNvSpPr/>
          <p:nvPr/>
        </p:nvSpPr>
        <p:spPr>
          <a:xfrm>
            <a:off x="7888740" y="5136004"/>
            <a:ext cx="251637" cy="251634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EA5A33D8-357C-A870-EC7B-646D791EF5FE}"/>
              </a:ext>
            </a:extLst>
          </p:cNvPr>
          <p:cNvSpPr/>
          <p:nvPr/>
        </p:nvSpPr>
        <p:spPr>
          <a:xfrm>
            <a:off x="7878107" y="5651562"/>
            <a:ext cx="251637" cy="251634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DA03DB0B-8087-A600-44B6-1CC7F01C8068}"/>
              </a:ext>
            </a:extLst>
          </p:cNvPr>
          <p:cNvSpPr txBox="1"/>
          <p:nvPr/>
        </p:nvSpPr>
        <p:spPr>
          <a:xfrm>
            <a:off x="7962561" y="2469803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9755A48-E138-95EB-45E0-9130B4195C2F}"/>
              </a:ext>
            </a:extLst>
          </p:cNvPr>
          <p:cNvSpPr txBox="1"/>
          <p:nvPr/>
        </p:nvSpPr>
        <p:spPr>
          <a:xfrm>
            <a:off x="7968838" y="2962220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8D95E4D2-8F99-6C1C-0C51-A1EB1A0E941F}"/>
              </a:ext>
            </a:extLst>
          </p:cNvPr>
          <p:cNvSpPr txBox="1"/>
          <p:nvPr/>
        </p:nvSpPr>
        <p:spPr>
          <a:xfrm>
            <a:off x="7951928" y="3696043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chemeClr val="bg1"/>
                </a:solidFill>
              </a:rPr>
              <a:t>40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E16A6F9-6888-51B4-FDC9-3DA68EEE6C78}"/>
              </a:ext>
            </a:extLst>
          </p:cNvPr>
          <p:cNvSpPr txBox="1"/>
          <p:nvPr/>
        </p:nvSpPr>
        <p:spPr>
          <a:xfrm>
            <a:off x="7944449" y="4539796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chemeClr val="bg1"/>
                </a:solidFill>
              </a:rPr>
              <a:t>30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B8FFFEE-DDDC-42AF-26E0-5E49253BF995}"/>
              </a:ext>
            </a:extLst>
          </p:cNvPr>
          <p:cNvSpPr txBox="1"/>
          <p:nvPr/>
        </p:nvSpPr>
        <p:spPr>
          <a:xfrm>
            <a:off x="7929637" y="5170097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6D2D0BF3-7376-E214-3BA7-04749D3246EC}"/>
              </a:ext>
            </a:extLst>
          </p:cNvPr>
          <p:cNvSpPr txBox="1"/>
          <p:nvPr/>
        </p:nvSpPr>
        <p:spPr>
          <a:xfrm>
            <a:off x="7911525" y="5694716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chemeClr val="bg1"/>
                </a:solidFill>
              </a:rPr>
              <a:t>2.5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1F6802D-13D4-9808-998B-B0D6D880705B}"/>
              </a:ext>
            </a:extLst>
          </p:cNvPr>
          <p:cNvSpPr txBox="1"/>
          <p:nvPr/>
        </p:nvSpPr>
        <p:spPr>
          <a:xfrm>
            <a:off x="7964690" y="1951872"/>
            <a:ext cx="5191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05" name="Sticky">
            <a:extLst>
              <a:ext uri="{FF2B5EF4-FFF2-40B4-BE49-F238E27FC236}">
                <a16:creationId xmlns:a16="http://schemas.microsoft.com/office/drawing/2014/main" id="{A45CAD5D-70D4-7A70-99A2-E687460FF11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9148637" y="893107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Q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8535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070364-673F-033F-BABE-5F827D685F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90CCD0-B8EA-D598-5106-052872C96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oodiX</a:t>
            </a:r>
            <a:r>
              <a:rPr lang="en-US" dirty="0"/>
              <a:t> </a:t>
            </a:r>
            <a:endParaRPr lang="fr-FR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139C39-CC02-AD06-C2EB-E0F14C4DC5DA}"/>
              </a:ext>
            </a:extLst>
          </p:cNvPr>
          <p:cNvSpPr txBox="1"/>
          <p:nvPr/>
        </p:nvSpPr>
        <p:spPr>
          <a:xfrm>
            <a:off x="554736" y="1952672"/>
            <a:ext cx="11082528" cy="30008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dirty="0">
                <a:latin typeface="+mj-lt"/>
              </a:rPr>
              <a:t>Startup (fictif) composée de 50 collaborateurs dont 30 aux US (Des Moines – Iowa)</a:t>
            </a:r>
          </a:p>
          <a:p>
            <a:endParaRPr lang="fr-FR" dirty="0">
              <a:latin typeface="+mj-lt"/>
            </a:endParaRPr>
          </a:p>
          <a:p>
            <a:r>
              <a:rPr lang="fr-FR" dirty="0">
                <a:latin typeface="+mj-lt"/>
              </a:rPr>
              <a:t>Proposition de valeur : fabricants de silos connectés</a:t>
            </a:r>
          </a:p>
          <a:p>
            <a:endParaRPr lang="fr-FR" dirty="0">
              <a:latin typeface="+mj-lt"/>
            </a:endParaRPr>
          </a:p>
          <a:p>
            <a:r>
              <a:rPr lang="fr-FR" dirty="0">
                <a:latin typeface="+mj-lt"/>
              </a:rPr>
              <a:t>Notre mission : s’attaquer au problème de la faim dans le monde en réduisant drastiquement ces pertes alimentaires par l’angle du stockage grâce à nos silos</a:t>
            </a:r>
          </a:p>
          <a:p>
            <a:pPr>
              <a:buNone/>
            </a:pPr>
            <a:endParaRPr lang="fr-FR" dirty="0">
              <a:latin typeface="+mj-lt"/>
            </a:endParaRPr>
          </a:p>
          <a:p>
            <a:pPr>
              <a:buNone/>
            </a:pPr>
            <a:r>
              <a:rPr lang="fr-FR" dirty="0">
                <a:latin typeface="+mj-lt"/>
              </a:rPr>
              <a:t>Pour ce faire, à partir d’images satellites, nous voulons détecter des zones dans le monde qui en sont dépourvues afin de savoir où les installer</a:t>
            </a:r>
          </a:p>
          <a:p>
            <a:endParaRPr lang="fr-FR" dirty="0">
              <a:latin typeface="+mj-lt"/>
            </a:endParaRPr>
          </a:p>
        </p:txBody>
      </p:sp>
      <p:sp>
        <p:nvSpPr>
          <p:cNvPr id="7" name="Sticky">
            <a:extLst>
              <a:ext uri="{FF2B5EF4-FFF2-40B4-BE49-F238E27FC236}">
                <a16:creationId xmlns:a16="http://schemas.microsoft.com/office/drawing/2014/main" id="{C9A75067-D3C3-550D-4BB5-8415BB1002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79070" y="669818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QB</a:t>
            </a:r>
          </a:p>
        </p:txBody>
      </p:sp>
    </p:spTree>
    <p:extLst>
      <p:ext uri="{BB962C8B-B14F-4D97-AF65-F5344CB8AC3E}">
        <p14:creationId xmlns:p14="http://schemas.microsoft.com/office/powerpoint/2010/main" val="1296917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97CF960C-D177-4433-B006-2BB31EE4CD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60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97CF960C-D177-4433-B006-2BB31EE4C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E4A6BE36-3704-4140-9D0A-6145852A304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Pour </a:t>
            </a:r>
            <a:r>
              <a:rPr lang="en-US" dirty="0" err="1"/>
              <a:t>accomplir</a:t>
            </a:r>
            <a:r>
              <a:rPr lang="en-US" dirty="0"/>
              <a:t> </a:t>
            </a:r>
            <a:r>
              <a:rPr lang="en-US" dirty="0" err="1"/>
              <a:t>notre</a:t>
            </a:r>
            <a:r>
              <a:rPr lang="en-US" dirty="0"/>
              <a:t> mission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4725BDAF-EC33-4DCB-BC73-0FA3EAA02F3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DF2870-8B11-86E2-0662-F7AE9A6BE9E9}"/>
              </a:ext>
            </a:extLst>
          </p:cNvPr>
          <p:cNvSpPr txBox="1"/>
          <p:nvPr/>
        </p:nvSpPr>
        <p:spPr>
          <a:xfrm>
            <a:off x="554735" y="1202759"/>
            <a:ext cx="10922157" cy="2431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dirty="0">
                <a:latin typeface="+mj-lt"/>
              </a:rPr>
              <a:t>Problème posé :</a:t>
            </a:r>
          </a:p>
          <a:p>
            <a:pPr>
              <a:buNone/>
            </a:pPr>
            <a:r>
              <a:rPr lang="fr-FR" dirty="0">
                <a:latin typeface="+mj-lt"/>
              </a:rPr>
              <a:t>Construire une solution qui permet de détecter si oui ou non une image satellite contient un silo (classification)</a:t>
            </a:r>
          </a:p>
          <a:p>
            <a:pPr>
              <a:buNone/>
            </a:pPr>
            <a:endParaRPr lang="fr-FR" dirty="0">
              <a:latin typeface="+mj-lt"/>
            </a:endParaRPr>
          </a:p>
          <a:p>
            <a:pPr>
              <a:buNone/>
            </a:pPr>
            <a:r>
              <a:rPr lang="fr-FR" dirty="0">
                <a:latin typeface="+mj-lt"/>
              </a:rPr>
              <a:t>Bonus : pour les plus courageux, la solution permettra de détecter tous les silos sur l’image satellite (segmentation d’images)</a:t>
            </a:r>
          </a:p>
          <a:p>
            <a:pPr>
              <a:buNone/>
            </a:pPr>
            <a:endParaRPr lang="fr-FR" dirty="0">
              <a:latin typeface="+mj-lt"/>
            </a:endParaRPr>
          </a:p>
          <a:p>
            <a:pPr>
              <a:buNone/>
            </a:pPr>
            <a:r>
              <a:rPr lang="fr-FR" dirty="0" err="1">
                <a:latin typeface="+mj-lt"/>
              </a:rPr>
              <a:t>Dataset</a:t>
            </a:r>
            <a:endParaRPr lang="fr-FR" dirty="0">
              <a:latin typeface="+mj-lt"/>
            </a:endParaRPr>
          </a:p>
          <a:p>
            <a:pPr>
              <a:buNone/>
            </a:pPr>
            <a:r>
              <a:rPr lang="fr-FR" dirty="0">
                <a:latin typeface="+mj-lt"/>
              </a:rPr>
              <a:t>Image satellites de l’état d’Iowa couvrant une superficie de 4000 m2 chacune</a:t>
            </a:r>
          </a:p>
        </p:txBody>
      </p:sp>
      <p:sp>
        <p:nvSpPr>
          <p:cNvPr id="3" name="Sticky">
            <a:extLst>
              <a:ext uri="{FF2B5EF4-FFF2-40B4-BE49-F238E27FC236}">
                <a16:creationId xmlns:a16="http://schemas.microsoft.com/office/drawing/2014/main" id="{AB6E3A6D-C047-E187-6287-D06510902D4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87962" y="519011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l’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6A10AD-CE46-5C4B-8C5D-429898CAED8D}"/>
              </a:ext>
            </a:extLst>
          </p:cNvPr>
          <p:cNvSpPr txBox="1"/>
          <p:nvPr/>
        </p:nvSpPr>
        <p:spPr>
          <a:xfrm>
            <a:off x="9003323" y="172329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E29B5A-A4C2-5835-0D72-B69BE3DE4A1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2210" y="3775718"/>
            <a:ext cx="2563271" cy="25632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3AEB5F-FE8C-A3C0-0286-B1DFE0DF3E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24691" y="3775717"/>
            <a:ext cx="2563271" cy="25632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28A8C0-58E6-6CA8-DF6C-CF0ABE3D22E5}"/>
              </a:ext>
            </a:extLst>
          </p:cNvPr>
          <p:cNvSpPr txBox="1"/>
          <p:nvPr/>
        </p:nvSpPr>
        <p:spPr>
          <a:xfrm>
            <a:off x="2628076" y="6372788"/>
            <a:ext cx="144419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dirty="0"/>
              <a:t>Exemple d’im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305EE9-E741-219E-93B2-6E21C50CED33}"/>
              </a:ext>
            </a:extLst>
          </p:cNvPr>
          <p:cNvSpPr txBox="1"/>
          <p:nvPr/>
        </p:nvSpPr>
        <p:spPr>
          <a:xfrm>
            <a:off x="6992839" y="6372788"/>
            <a:ext cx="200373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dirty="0"/>
              <a:t>Le </a:t>
            </a:r>
            <a:r>
              <a:rPr lang="fr-FR" sz="1400" dirty="0" err="1"/>
              <a:t>mask</a:t>
            </a:r>
            <a:r>
              <a:rPr lang="fr-FR" sz="1400" dirty="0"/>
              <a:t> correspondant</a:t>
            </a:r>
          </a:p>
        </p:txBody>
      </p:sp>
    </p:spTree>
    <p:extLst>
      <p:ext uri="{BB962C8B-B14F-4D97-AF65-F5344CB8AC3E}">
        <p14:creationId xmlns:p14="http://schemas.microsoft.com/office/powerpoint/2010/main" val="2831486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E480AD-2599-0166-F384-BB79FAC25D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F68EFD-801D-6FEF-E7EF-93B1ED3B5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288198"/>
            <a:ext cx="11082528" cy="731520"/>
          </a:xfrm>
        </p:spPr>
        <p:txBody>
          <a:bodyPr/>
          <a:lstStyle/>
          <a:p>
            <a:r>
              <a:rPr lang="fr-FR"/>
              <a:t>Livr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FC0829-C4D0-95F2-0134-BF6404838D7F}"/>
              </a:ext>
            </a:extLst>
          </p:cNvPr>
          <p:cNvSpPr txBox="1"/>
          <p:nvPr/>
        </p:nvSpPr>
        <p:spPr>
          <a:xfrm>
            <a:off x="554735" y="2187878"/>
            <a:ext cx="11082528" cy="329320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fr-FR" sz="1600" dirty="0">
                <a:latin typeface="+mj-lt"/>
              </a:rPr>
              <a:t>1. Un fichier csv contenant les noms des images ainsi que les labels prédits associés.</a:t>
            </a:r>
          </a:p>
          <a:p>
            <a:pPr>
              <a:buNone/>
            </a:pPr>
            <a:r>
              <a:rPr lang="fr-FR" sz="1600" dirty="0">
                <a:latin typeface="+mj-lt"/>
              </a:rPr>
              <a:t>Pour ceux qui ont fait de la segmentation d’image : un fichier zip contenant les </a:t>
            </a:r>
            <a:r>
              <a:rPr lang="fr-FR" sz="1600" dirty="0" err="1">
                <a:latin typeface="+mj-lt"/>
              </a:rPr>
              <a:t>mask</a:t>
            </a:r>
            <a:r>
              <a:rPr lang="fr-FR" sz="1600" dirty="0">
                <a:latin typeface="+mj-lt"/>
              </a:rPr>
              <a:t> prédits en format PNG</a:t>
            </a:r>
          </a:p>
          <a:p>
            <a:pPr>
              <a:buNone/>
            </a:pPr>
            <a:endParaRPr lang="fr-FR" sz="1600" dirty="0">
              <a:latin typeface="+mj-lt"/>
            </a:endParaRPr>
          </a:p>
          <a:p>
            <a:pPr>
              <a:buNone/>
            </a:pPr>
            <a:r>
              <a:rPr lang="fr-FR" sz="1600" dirty="0">
                <a:latin typeface="+mj-lt"/>
              </a:rPr>
              <a:t>Dans les deux cas, il ne faudra pas changer le nom original de l’image ou du </a:t>
            </a:r>
            <a:r>
              <a:rPr lang="fr-FR" sz="1600" dirty="0" err="1">
                <a:latin typeface="+mj-lt"/>
              </a:rPr>
              <a:t>mask</a:t>
            </a:r>
            <a:r>
              <a:rPr lang="fr-FR" sz="1600" dirty="0">
                <a:latin typeface="+mj-lt"/>
              </a:rPr>
              <a:t>.</a:t>
            </a:r>
          </a:p>
          <a:p>
            <a:pPr>
              <a:buNone/>
            </a:pPr>
            <a:endParaRPr lang="fr-FR" sz="1600" dirty="0">
              <a:latin typeface="+mj-lt"/>
            </a:endParaRPr>
          </a:p>
          <a:p>
            <a:pPr>
              <a:buNone/>
            </a:pPr>
            <a:r>
              <a:rPr lang="fr-FR" sz="1600" dirty="0">
                <a:latin typeface="+mj-lt"/>
              </a:rPr>
              <a:t>2. Code du modèle et de l’application web dans un fichier zip </a:t>
            </a:r>
          </a:p>
          <a:p>
            <a:pPr>
              <a:buNone/>
            </a:pPr>
            <a:endParaRPr lang="fr-FR" sz="1600" dirty="0">
              <a:latin typeface="+mj-lt"/>
            </a:endParaRPr>
          </a:p>
          <a:p>
            <a:pPr>
              <a:buNone/>
            </a:pPr>
            <a:endParaRPr lang="fr-FR" sz="1600" dirty="0">
              <a:latin typeface="+mj-lt"/>
            </a:endParaRPr>
          </a:p>
          <a:p>
            <a:pPr>
              <a:buNone/>
            </a:pPr>
            <a:r>
              <a:rPr lang="fr-FR" sz="1600" dirty="0">
                <a:latin typeface="+mj-lt"/>
              </a:rPr>
              <a:t>3. Une présentation de 10 minutes où il faudra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+mj-lt"/>
              </a:rPr>
              <a:t>Expliquer l’approche utilisé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+mj-lt"/>
              </a:rPr>
              <a:t>Montrer un </a:t>
            </a:r>
            <a:r>
              <a:rPr lang="fr-FR" sz="1600" dirty="0" err="1">
                <a:latin typeface="+mj-lt"/>
              </a:rPr>
              <a:t>mock</a:t>
            </a:r>
            <a:r>
              <a:rPr lang="fr-FR" sz="1600" dirty="0">
                <a:latin typeface="+mj-lt"/>
              </a:rPr>
              <a:t>-up d’une application web qui exécutera le modèle lorsqu’on y charge une ou plusieurs images satell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+mj-lt"/>
              </a:rPr>
              <a:t>Faire une </a:t>
            </a:r>
            <a:r>
              <a:rPr lang="fr-FR" sz="1600" dirty="0" err="1">
                <a:latin typeface="+mj-lt"/>
              </a:rPr>
              <a:t>demo</a:t>
            </a:r>
            <a:r>
              <a:rPr lang="fr-FR" sz="1600" dirty="0">
                <a:latin typeface="+mj-lt"/>
              </a:rPr>
              <a:t> de la première version de l’application web décrite ci-dessus</a:t>
            </a:r>
          </a:p>
        </p:txBody>
      </p:sp>
      <p:sp>
        <p:nvSpPr>
          <p:cNvPr id="7" name="Sticky">
            <a:extLst>
              <a:ext uri="{FF2B5EF4-FFF2-40B4-BE49-F238E27FC236}">
                <a16:creationId xmlns:a16="http://schemas.microsoft.com/office/drawing/2014/main" id="{387B3C01-A787-B858-30C5-6D2ADC6189E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187962" y="519011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l’X</a:t>
            </a:r>
          </a:p>
        </p:txBody>
      </p:sp>
    </p:spTree>
    <p:extLst>
      <p:ext uri="{BB962C8B-B14F-4D97-AF65-F5344CB8AC3E}">
        <p14:creationId xmlns:p14="http://schemas.microsoft.com/office/powerpoint/2010/main" val="2355617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>
            <a:extLst>
              <a:ext uri="{FF2B5EF4-FFF2-40B4-BE49-F238E27FC236}">
                <a16:creationId xmlns:a16="http://schemas.microsoft.com/office/drawing/2014/main" id="{1E145FB4-9C13-85BA-3D57-16200BBFDD1F}"/>
              </a:ext>
            </a:extLst>
          </p:cNvPr>
          <p:cNvSpPr/>
          <p:nvPr/>
        </p:nvSpPr>
        <p:spPr>
          <a:xfrm>
            <a:off x="1214847" y="4311629"/>
            <a:ext cx="9313921" cy="298504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dirty="0" err="1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645DD-0479-AAB7-DC1F-CB8AB3453D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EC2C56-61DC-43D3-FE43-4EECD2883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lann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6A78B3F-FCF7-FA06-E444-DAC0D3BF6F11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1193581" y="2821048"/>
            <a:ext cx="9335187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1C9E6A1B-AF69-FE6C-E51D-8A436D433A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00536" y="1205589"/>
            <a:ext cx="1628215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solidFill>
                  <a:srgbClr val="051C2C"/>
                </a:solidFill>
              </a:rPr>
              <a:t>Plage </a:t>
            </a:r>
            <a:r>
              <a:rPr lang="fr-FR" sz="1400" b="1" dirty="0" err="1">
                <a:solidFill>
                  <a:srgbClr val="051C2C"/>
                </a:solidFill>
              </a:rPr>
              <a:t>horraire</a:t>
            </a:r>
            <a:endParaRPr lang="fr-FR" sz="1400" b="1" dirty="0">
              <a:solidFill>
                <a:srgbClr val="051C2C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06E48B-7E23-95F1-C439-CED4BA1F025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810311" y="1216975"/>
            <a:ext cx="331400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solidFill>
                  <a:srgbClr val="051C2C"/>
                </a:solidFill>
              </a:rPr>
              <a:t>Lie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870D57-7478-0173-4A45-1AD6E0BB622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723173" y="1677019"/>
            <a:ext cx="1628215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rgbClr val="051C2C"/>
                </a:solidFill>
              </a:rPr>
              <a:t>10h-12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70A123-E780-B170-293A-2B5F543F1B2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749744" y="1706193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 de TD (PC 3 à 17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4BA34F-61E2-6F83-C1E7-BD4843CBCBF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723173" y="2960485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8h30-9h3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AF2A76-C73B-6638-AA9B-28991ADF3A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977979" y="2950709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Petit déjeu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A72840-6C1E-8676-CDBB-DFB1703F671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749744" y="1991423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 restaurant derrière le </a:t>
            </a:r>
            <a:r>
              <a:rPr lang="fr-FR" sz="1100" dirty="0" err="1">
                <a:solidFill>
                  <a:srgbClr val="051C2C"/>
                </a:solidFill>
                <a:latin typeface="Arial" panose="020B0604020202020204" pitchFamily="34" charset="0"/>
              </a:rPr>
              <a:t>DrahiX</a:t>
            </a:r>
            <a:endParaRPr lang="fr-FR" sz="1100" dirty="0">
              <a:solidFill>
                <a:srgbClr val="051C2C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332F702-F3FA-EC5E-C599-32C8693D204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749744" y="5587848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Amphi Carno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419A83-50DB-40CB-FC73-E89D6CC3D03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749744" y="4956738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s de TD (PC 3, 10, 17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CA86966-43DF-4C36-9AFE-3986D0E586C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723173" y="2289416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3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88ECC6-8EF9-A2EC-FE57-F0DC84BE2E0C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749744" y="2301960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s de TD (PC 3 à 17)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23CB8BA-E5A5-D9B6-AE60-7D7CEF0BAEED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1228926" y="1498599"/>
            <a:ext cx="9335187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5839E7DA-E49B-D8AE-EC44-FECA3188EEC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723173" y="1990912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2h-13h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134D06-2D9C-2C16-9457-6F68FB9C3B93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977979" y="1216975"/>
            <a:ext cx="331400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solidFill>
                  <a:srgbClr val="051C2C"/>
                </a:solidFill>
              </a:rPr>
              <a:t>Description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CF3A48C-C936-E7C4-41D3-9AD5A850504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723173" y="2577287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9h-20h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E853E29-E387-73A5-2FEA-972BF7B9E75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749744" y="2592402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 restaurant derrière le </a:t>
            </a:r>
            <a:r>
              <a:rPr lang="fr-FR" sz="1100" dirty="0" err="1">
                <a:solidFill>
                  <a:srgbClr val="051C2C"/>
                </a:solidFill>
                <a:latin typeface="Arial" panose="020B0604020202020204" pitchFamily="34" charset="0"/>
              </a:rPr>
              <a:t>DrahiX</a:t>
            </a:r>
            <a:endParaRPr lang="fr-FR" sz="1100" dirty="0">
              <a:solidFill>
                <a:srgbClr val="051C2C"/>
              </a:solidFill>
              <a:latin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4C9B605-1E9A-C98C-7E4C-5F5D2DEFA52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228926" y="1198761"/>
            <a:ext cx="1628215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400" b="1" dirty="0">
                <a:solidFill>
                  <a:srgbClr val="051C2C"/>
                </a:solidFill>
              </a:rPr>
              <a:t>Jou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70CFDB3-7B99-C4F0-6E21-91CEB54B2EE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1228926" y="1626605"/>
            <a:ext cx="1628215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rgbClr val="051C2C"/>
                </a:solidFill>
              </a:rPr>
              <a:t>Samedi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892A304-9D04-92D5-50E8-1D0545DFA5B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1228926" y="2940812"/>
            <a:ext cx="1628215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fr-FR" sz="1100" dirty="0">
                <a:solidFill>
                  <a:srgbClr val="051C2C"/>
                </a:solidFill>
              </a:rPr>
              <a:t>Dimanch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7711338-B6EB-B894-0B89-940F46A403BB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2723173" y="3280621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9h30-12h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681B450-CCA7-2FF5-E803-64AC085AFB8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2723173" y="3579125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2h-13h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C2415A7-DB22-085C-758E-259413EC52F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2723173" y="4680319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4h45-16h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6D1F4E3-8235-4C94-716C-CCF8C37D4CD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2723173" y="4978823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6h-16h2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ECC8AB8-327A-B0C3-AD92-0CEBF027D721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2723173" y="5575831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7h15-17h45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D6F4550-35DB-C57D-8932-E7C73C8AD65D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4749744" y="3285371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s de TD (PC 3 à 17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71D09A6-6F05-57B2-0DB7-B12161EC9398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2723173" y="4069023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3h3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FA9F8ED-0209-9F7C-79FA-F10A0A70DCDC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2723173" y="4381815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4h35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28C1F13-8B4B-2CBE-5CD9-B73EEBBFA840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7977979" y="4363621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b="1" dirty="0">
                <a:solidFill>
                  <a:srgbClr val="051C2C"/>
                </a:solidFill>
                <a:latin typeface="Arial" panose="020B0604020202020204" pitchFamily="34" charset="0"/>
              </a:rPr>
              <a:t>Fin du hackath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20EBB40-4CA7-EA2C-6253-02D2B2973E9A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2723173" y="5874333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7h45-18h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BC2FED4-7244-D625-1305-96E4231CF646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2723173" y="5277327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6h30-17h1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4225DD9-AD78-0100-2F16-C36F62ABE7B3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4749744" y="4082279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s de TD (PC 3 à 17)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5A43692-23C4-E306-7098-6F54A528845E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977979" y="3254040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Hackath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36393D2-B25C-1D79-3B79-17C3BEE12F7F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7977979" y="4061929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Envoi du test se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2F5C5E9-84E7-CE2F-8BC3-F1467C592D2A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7977979" y="1683736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but du hackatho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1989D99-3962-0344-3C44-8D82CAF7EECE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7977979" y="1974554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jeune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7C6B3C5-F108-B2D6-FF32-013188B2E891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7977979" y="2583335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îner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79DC10B-ADAE-BAF4-5197-A276D352720C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7977979" y="2285922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Hackath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76A6C1B-048B-BA28-E59D-B07515186C2A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4749744" y="2947052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 restaurant derrière le </a:t>
            </a:r>
            <a:r>
              <a:rPr lang="fr-FR" sz="1100" dirty="0" err="1">
                <a:solidFill>
                  <a:srgbClr val="051C2C"/>
                </a:solidFill>
                <a:latin typeface="Arial" panose="020B0604020202020204" pitchFamily="34" charset="0"/>
              </a:rPr>
              <a:t>DrahiX</a:t>
            </a:r>
            <a:endParaRPr lang="fr-FR" sz="1100" dirty="0">
              <a:solidFill>
                <a:srgbClr val="051C2C"/>
              </a:solidFill>
              <a:latin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4391156-0378-C574-26CD-BF3F8F099009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4749744" y="3606741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 restaurant derrière le </a:t>
            </a:r>
            <a:r>
              <a:rPr lang="fr-FR" sz="1100" dirty="0" err="1">
                <a:solidFill>
                  <a:srgbClr val="051C2C"/>
                </a:solidFill>
                <a:latin typeface="Arial" panose="020B0604020202020204" pitchFamily="34" charset="0"/>
              </a:rPr>
              <a:t>DrahiX</a:t>
            </a:r>
            <a:endParaRPr lang="fr-FR" sz="1100" dirty="0">
              <a:solidFill>
                <a:srgbClr val="051C2C"/>
              </a:solidFill>
              <a:latin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AA13347-BDDE-0382-9989-FE40250B5B17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7977979" y="3564210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jeune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C5DE425-EE33-FEC7-6102-2C209CB5360F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4749744" y="4678327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s de TD (PC 3, 10, 17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2F389C8-D052-9FD9-4B62-0DFB73672A0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7977979" y="4655469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Phase de présélectio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855EAE4-23F7-C8DF-ADE0-FB41F3C3C222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7977979" y="4924430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libération du jury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DEA9710-A7B0-E910-C8E2-5064AE63E7F5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4749744" y="5281571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Amphi Carno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64F419D9-EF03-0200-135C-01DDFD9CF06D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7977979" y="5223696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Annonce des équipes présélectionnées et phase final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D57E844-FDF3-757A-BCF2-DE6E290E62D2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7977979" y="5532109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Délibération du jury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17EBCE2-8934-FA30-7552-C0A4C7586B32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4749744" y="5867711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Amphi Carnot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73C2920-8129-09A6-0483-B0FF9BF6608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7977979" y="5824106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Annonce des résultat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AAAEF54-C7C6-AC91-01E3-3B1E23DCECB0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2723172" y="6172835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8h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5522317-5078-A090-4418-7DFCFD043F66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4749744" y="6144162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 restaurant derrière le </a:t>
            </a:r>
            <a:r>
              <a:rPr lang="fr-FR" sz="1100" dirty="0" err="1">
                <a:solidFill>
                  <a:srgbClr val="051C2C"/>
                </a:solidFill>
                <a:latin typeface="Arial" panose="020B0604020202020204" pitchFamily="34" charset="0"/>
              </a:rPr>
              <a:t>DrahiX</a:t>
            </a:r>
            <a:endParaRPr lang="fr-FR" sz="1100" dirty="0">
              <a:solidFill>
                <a:srgbClr val="051C2C"/>
              </a:solidFill>
              <a:latin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A508BEE-13B7-8EE4-8511-B899CB3C97EB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7977979" y="6100557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Cocktail</a:t>
            </a:r>
          </a:p>
        </p:txBody>
      </p:sp>
      <p:sp>
        <p:nvSpPr>
          <p:cNvPr id="85" name="Sticky">
            <a:extLst>
              <a:ext uri="{FF2B5EF4-FFF2-40B4-BE49-F238E27FC236}">
                <a16:creationId xmlns:a16="http://schemas.microsoft.com/office/drawing/2014/main" id="{2E9703CF-BB3D-A6A7-639D-0DC5968897DE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9187962" y="519011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l’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ABA8BB-7CA8-1EA7-CEB1-3CA2CB209164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2718287" y="3830010"/>
            <a:ext cx="1628215" cy="1538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</a:rPr>
              <a:t>13h-14h3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0642EE-7442-C1F6-7E35-900FA4CBF34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4749744" y="3844465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Salles de TD (PC 3 à 17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804B5AF-E317-8F86-F8AA-E8F19EF5593F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7977979" y="3834740"/>
            <a:ext cx="3314004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1100" dirty="0">
                <a:solidFill>
                  <a:srgbClr val="051C2C"/>
                </a:solidFill>
                <a:latin typeface="Arial" panose="020B0604020202020204" pitchFamily="34" charset="0"/>
              </a:rPr>
              <a:t>Hackathon</a:t>
            </a:r>
          </a:p>
        </p:txBody>
      </p:sp>
    </p:spTree>
    <p:extLst>
      <p:ext uri="{BB962C8B-B14F-4D97-AF65-F5344CB8AC3E}">
        <p14:creationId xmlns:p14="http://schemas.microsoft.com/office/powerpoint/2010/main" val="14805411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645DD-0479-AAB7-DC1F-CB8AB3453D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EC2C56-61DC-43D3-FE43-4EECD2883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rille d’évalu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1DD932-912A-C51C-815E-C162A39A733A}"/>
              </a:ext>
            </a:extLst>
          </p:cNvPr>
          <p:cNvSpPr txBox="1"/>
          <p:nvPr/>
        </p:nvSpPr>
        <p:spPr>
          <a:xfrm>
            <a:off x="554735" y="1537007"/>
            <a:ext cx="10130986" cy="31393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600" dirty="0"/>
            </a:lvl2pPr>
            <a:lvl3pPr marL="512064" lvl="2" indent="-28346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lang="en-US" sz="1600" dirty="0"/>
            </a:lvl3pPr>
            <a:lvl4pPr marL="740664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defRPr lang="en-US" sz="1600" dirty="0"/>
            </a:lvl4pPr>
            <a:lvl5pPr marL="914400" lvl="4" indent="-13716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Performance du modèle (AUC)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Explication de l’approche utilisée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Qualité de l'approche scientifique (benchmark/état de l'art, créativité, complétude)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Qualité du code (typing, docstring, commentaires, clarté du code)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Dans quelle mesure l'équipe comprend le client ?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Le pitch était-il structuré, rythmé, impactant ?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Créativité du </a:t>
            </a:r>
            <a:r>
              <a:rPr lang="fr-FR" sz="1400" dirty="0" err="1">
                <a:latin typeface="+mj-lt"/>
              </a:rPr>
              <a:t>mock</a:t>
            </a:r>
            <a:r>
              <a:rPr lang="fr-FR" sz="1400" dirty="0">
                <a:latin typeface="+mj-lt"/>
              </a:rPr>
              <a:t>-up de l'application proposé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Expérience utilisateur sur le </a:t>
            </a:r>
            <a:r>
              <a:rPr lang="fr-FR" sz="1400" dirty="0" err="1">
                <a:latin typeface="+mj-lt"/>
              </a:rPr>
              <a:t>mock</a:t>
            </a:r>
            <a:r>
              <a:rPr lang="fr-FR" sz="1400" dirty="0">
                <a:latin typeface="+mj-lt"/>
              </a:rPr>
              <a:t>-up (ergonomie, facilité d'utilisation pour un user standard)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Clarté et pertinence des réponses apportées aux questions du jury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L’équipe a-elle mis en place un «produit minimum viable» pour le weekend ?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400" dirty="0">
                <a:latin typeface="+mj-lt"/>
              </a:rPr>
              <a:t>Eléments de business model</a:t>
            </a:r>
          </a:p>
        </p:txBody>
      </p:sp>
      <p:sp>
        <p:nvSpPr>
          <p:cNvPr id="16" name="Sticky">
            <a:extLst>
              <a:ext uri="{FF2B5EF4-FFF2-40B4-BE49-F238E27FC236}">
                <a16:creationId xmlns:a16="http://schemas.microsoft.com/office/drawing/2014/main" id="{D4E1B115-7041-92A7-A234-C68ADEF2C83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187962" y="519011"/>
            <a:ext cx="1905000" cy="455639"/>
          </a:xfrm>
          <a:prstGeom prst="foldedCorner">
            <a:avLst/>
          </a:prstGeom>
          <a:solidFill>
            <a:srgbClr val="FFFF8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3500" tIns="70759" rIns="63500" bIns="635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rgbClr val="000000"/>
                </a:solidFill>
              </a:rPr>
              <a:t>Présenté par l’X</a:t>
            </a:r>
          </a:p>
        </p:txBody>
      </p:sp>
    </p:spTree>
    <p:extLst>
      <p:ext uri="{BB962C8B-B14F-4D97-AF65-F5344CB8AC3E}">
        <p14:creationId xmlns:p14="http://schemas.microsoft.com/office/powerpoint/2010/main" val="7708388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SCLIENT" val="True"/>
  <p:tag name="TCCONTRASTACCENTS" val="4|5|6|7|8|9"/>
  <p:tag name="TCLIGHTACCENTS" val="4|5|6|7|8|9"/>
  <p:tag name="THINKCELLUNDODONOTDELETE" val="0"/>
  <p:tag name="TEMPLATELASTEDITED" val="2022-04-27 01:11 P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METADATA" val="&lt;Metadata&gt;&lt;Field Name=&quot;TemplateCategory&quot; Type=&quot;text&quot;&gt;&lt;Value&gt;Tables, Lists, &amp;amp; Quotes\Tables&lt;/Value&gt;&lt;/Field&gt;&lt;Field Name=&quot;TemplateTagsInvisible&quot; Type=&quot;text&quot;&gt;&lt;Value&gt;3&lt;/Value&gt;&lt;Value&gt;three&lt;/Value&gt;&lt;/Field&gt;&lt;/Metadata&gt;"/>
  <p:tag name="APLORISLIBID" val="La8700d8e-26e2-43fc-9c03-2ed851bf76f8.1.apik9Q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376.6667"/>
  <p:tag name="HEIGHT" val="113.3333"/>
  <p:tag name="WIDTH" val="15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579"/>
  <p:tag name="TOP" val="110"/>
  <p:tag name="HEIGHT" val="113.3333"/>
  <p:tag name="WIDTH" val="158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20110715096868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5"/>
  <p:tag name="WIDTH" val="158"/>
  <p:tag name="TOP" val="110"/>
  <p:tag name="HEIGHT" val="113.333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110"/>
  <p:tag name="HEIGHT" val="113.3333"/>
  <p:tag name="WIDTH" val="158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223"/>
  <p:tag name="TOP" val="243.3333"/>
  <p:tag name="HEIGHT" val="113.3333"/>
  <p:tag name="WIDTH" val="158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20110715096868"/>
  <p:tag name="LEFT" val="401"/>
  <p:tag name="TOP" val="110"/>
  <p:tag name="HEIGHT" val="113.3333"/>
  <p:tag name="WIDTH" val="158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31119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31119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B998E58D-2466-425D-BFE9-39C89E200AF3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31119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042A76"/>
      </a:accent3>
      <a:accent4>
        <a:srgbClr val="AAE6F0"/>
      </a:accent4>
      <a:accent5>
        <a:srgbClr val="04043B"/>
      </a:accent5>
      <a:accent6>
        <a:srgbClr val="3C96B4"/>
      </a:accent6>
      <a:hlink>
        <a:srgbClr val="0000FF"/>
      </a:hlink>
      <a:folHlink>
        <a:srgbClr val="800080"/>
      </a:folHlink>
    </a:clrScheme>
    <a:fontScheme name="Custo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31119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042A76"/>
        </a:accent3>
        <a:accent4>
          <a:srgbClr val="AAE6F0"/>
        </a:accent4>
        <a:accent5>
          <a:srgbClr val="04043B"/>
        </a:accent5>
        <a:accent6>
          <a:srgbClr val="3C96B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QuantumBlack_Template_Updated.potx" id="{113CCFE1-C38E-4531-8210-14DBA8EAF9CA}" vid="{EB4CD69D-43A4-4429-BE91-FC0926038AC5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392979B-D1DE-2443-A7F3-096782F3865A}">
  <we:reference id="186f9e69-8c0a-4e87-b19c-647c4ba34c10" version="16.22.6.1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White</Template>
  <TotalTime>16699</TotalTime>
  <Words>706</Words>
  <Application>Microsoft Macintosh PowerPoint</Application>
  <PresentationFormat>Widescreen</PresentationFormat>
  <Paragraphs>14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Wingdings</vt:lpstr>
      <vt:lpstr>Segoe UI</vt:lpstr>
      <vt:lpstr>Georgia</vt:lpstr>
      <vt:lpstr>White</vt:lpstr>
      <vt:lpstr>Contrast</vt:lpstr>
      <vt:lpstr>think-cell Slide</vt:lpstr>
      <vt:lpstr>L’agriculture de demain</vt:lpstr>
      <vt:lpstr>Constat : 14 % des aliments produits sont perdus entre la récolte et la vente au détail (1/2)</vt:lpstr>
      <vt:lpstr>Constat : 14 % des aliments produits sont perdus entre la récolte et la vente au détail (2/2)</vt:lpstr>
      <vt:lpstr>FoodiX </vt:lpstr>
      <vt:lpstr>Pour accomplir notre mission</vt:lpstr>
      <vt:lpstr>Livrables</vt:lpstr>
      <vt:lpstr>Planning</vt:lpstr>
      <vt:lpstr>Grille d’évalu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’agriculture de demain</dc:title>
  <dc:subject/>
  <dc:creator>Reda Slaoui</dc:creator>
  <cp:keywords/>
  <dc:description/>
  <cp:lastModifiedBy>Reda Slaoui</cp:lastModifiedBy>
  <cp:revision>16</cp:revision>
  <dcterms:created xsi:type="dcterms:W3CDTF">2022-09-13T12:13:55Z</dcterms:created>
  <dcterms:modified xsi:type="dcterms:W3CDTF">2022-09-28T18:30:5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astEdited">
    <vt:lpwstr>2022-04-27 01:11 PM</vt:lpwstr>
  </property>
</Properties>
</file>